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2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86427332176701E-2"/>
          <c:y val="0.13256490679554642"/>
          <c:w val="0.90505710514999183"/>
          <c:h val="0.79305347724018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44-41DC-9BBC-E3FB1ABD956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44-41DC-9BBC-E3FB1ABD95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44-41DC-9BBC-E3FB1ABD95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9265071"/>
        <c:axId val="209266991"/>
      </c:barChart>
      <c:catAx>
        <c:axId val="20926507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6991"/>
        <c:crosses val="autoZero"/>
        <c:auto val="1"/>
        <c:lblAlgn val="ctr"/>
        <c:lblOffset val="100"/>
        <c:noMultiLvlLbl val="0"/>
      </c:catAx>
      <c:valAx>
        <c:axId val="209266991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9265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43FD1C-D45D-9294-14DB-F28BD0C90B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F28EEBE-4B2C-1049-46A5-243BD5E52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Bar Chart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056519EE-F02D-65D5-B610-68EF64CE71C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27075" y="2476500"/>
          <a:ext cx="16859250" cy="6759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AFEA56-99C4-7DC2-2CD2-47A405BCC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FCD568-FFA9-BB1C-E913-D925941259B8}"/>
              </a:ext>
            </a:extLst>
          </p:cNvPr>
          <p:cNvSpPr txBox="1"/>
          <p:nvPr/>
        </p:nvSpPr>
        <p:spPr>
          <a:xfrm>
            <a:off x="714375" y="1912900"/>
            <a:ext cx="16858800" cy="43088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800" dirty="0"/>
              <a:t>Chart Title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946008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3</TotalTime>
  <Words>5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81</cp:revision>
  <dcterms:created xsi:type="dcterms:W3CDTF">2006-08-16T00:00:00Z</dcterms:created>
  <dcterms:modified xsi:type="dcterms:W3CDTF">2025-10-06T08:55:51Z</dcterms:modified>
  <cp:category/>
  <dc:identifier>DAGkDf5R9EM</dc:identifier>
</cp:coreProperties>
</file>